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10"/>
  </p:notesMasterIdLst>
  <p:handoutMasterIdLst>
    <p:handoutMasterId r:id="rId11"/>
  </p:handoutMasterIdLst>
  <p:sldIdLst>
    <p:sldId id="303" r:id="rId3"/>
    <p:sldId id="734" r:id="rId4"/>
    <p:sldId id="732" r:id="rId5"/>
    <p:sldId id="733" r:id="rId6"/>
    <p:sldId id="727" r:id="rId7"/>
    <p:sldId id="735" r:id="rId8"/>
    <p:sldId id="729" r:id="rId9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1" autoAdjust="0"/>
    <p:restoredTop sz="92507" autoAdjust="0"/>
  </p:normalViewPr>
  <p:slideViewPr>
    <p:cSldViewPr snapToGrid="0">
      <p:cViewPr varScale="1">
        <p:scale>
          <a:sx n="58" d="100"/>
          <a:sy n="58" d="100"/>
        </p:scale>
        <p:origin x="1500" y="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dramouli, Devaki (Nokia - US/Dallas)" userId="ebf2a9f8-651b-4485-926f-9d93c0eafbc5" providerId="ADAL" clId="{81B58B25-FF27-46A6-BFC1-A3A5254C87F5}"/>
    <pc:docChg chg="custSel delSld modSld">
      <pc:chgData name="Chandramouli, Devaki (Nokia - US/Dallas)" userId="ebf2a9f8-651b-4485-926f-9d93c0eafbc5" providerId="ADAL" clId="{81B58B25-FF27-46A6-BFC1-A3A5254C87F5}" dt="2020-10-19T14:33:27.187" v="125" actId="313"/>
      <pc:docMkLst>
        <pc:docMk/>
      </pc:docMkLst>
      <pc:sldChg chg="del">
        <pc:chgData name="Chandramouli, Devaki (Nokia - US/Dallas)" userId="ebf2a9f8-651b-4485-926f-9d93c0eafbc5" providerId="ADAL" clId="{81B58B25-FF27-46A6-BFC1-A3A5254C87F5}" dt="2020-10-19T13:51:46.406" v="0" actId="2696"/>
        <pc:sldMkLst>
          <pc:docMk/>
          <pc:sldMk cId="297726682" sldId="726"/>
        </pc:sldMkLst>
      </pc:sldChg>
      <pc:sldChg chg="modSp">
        <pc:chgData name="Chandramouli, Devaki (Nokia - US/Dallas)" userId="ebf2a9f8-651b-4485-926f-9d93c0eafbc5" providerId="ADAL" clId="{81B58B25-FF27-46A6-BFC1-A3A5254C87F5}" dt="2020-10-19T14:33:11.585" v="98" actId="20577"/>
        <pc:sldMkLst>
          <pc:docMk/>
          <pc:sldMk cId="2766912134" sldId="732"/>
        </pc:sldMkLst>
        <pc:spChg chg="mod">
          <ac:chgData name="Chandramouli, Devaki (Nokia - US/Dallas)" userId="ebf2a9f8-651b-4485-926f-9d93c0eafbc5" providerId="ADAL" clId="{81B58B25-FF27-46A6-BFC1-A3A5254C87F5}" dt="2020-10-19T14:33:11.585" v="98" actId="20577"/>
          <ac:spMkLst>
            <pc:docMk/>
            <pc:sldMk cId="2766912134" sldId="732"/>
            <ac:spMk id="3" creationId="{D6578126-592B-44F1-83F1-2FD85F73B618}"/>
          </ac:spMkLst>
        </pc:spChg>
      </pc:sldChg>
      <pc:sldChg chg="modSp">
        <pc:chgData name="Chandramouli, Devaki (Nokia - US/Dallas)" userId="ebf2a9f8-651b-4485-926f-9d93c0eafbc5" providerId="ADAL" clId="{81B58B25-FF27-46A6-BFC1-A3A5254C87F5}" dt="2020-10-19T14:33:27.187" v="125" actId="313"/>
        <pc:sldMkLst>
          <pc:docMk/>
          <pc:sldMk cId="1163656122" sldId="733"/>
        </pc:sldMkLst>
        <pc:spChg chg="mod">
          <ac:chgData name="Chandramouli, Devaki (Nokia - US/Dallas)" userId="ebf2a9f8-651b-4485-926f-9d93c0eafbc5" providerId="ADAL" clId="{81B58B25-FF27-46A6-BFC1-A3A5254C87F5}" dt="2020-10-19T14:33:27.187" v="125" actId="313"/>
          <ac:spMkLst>
            <pc:docMk/>
            <pc:sldMk cId="1163656122" sldId="733"/>
            <ac:spMk id="3" creationId="{D6578126-592B-44F1-83F1-2FD85F73B618}"/>
          </ac:spMkLst>
        </pc:spChg>
      </pc:sldChg>
      <pc:sldChg chg="modSp modNotesTx">
        <pc:chgData name="Chandramouli, Devaki (Nokia - US/Dallas)" userId="ebf2a9f8-651b-4485-926f-9d93c0eafbc5" providerId="ADAL" clId="{81B58B25-FF27-46A6-BFC1-A3A5254C87F5}" dt="2020-10-19T13:52:45.117" v="66" actId="20577"/>
        <pc:sldMkLst>
          <pc:docMk/>
          <pc:sldMk cId="3821184932" sldId="734"/>
        </pc:sldMkLst>
        <pc:spChg chg="mod">
          <ac:chgData name="Chandramouli, Devaki (Nokia - US/Dallas)" userId="ebf2a9f8-651b-4485-926f-9d93c0eafbc5" providerId="ADAL" clId="{81B58B25-FF27-46A6-BFC1-A3A5254C87F5}" dt="2020-10-19T13:52:29.324" v="37" actId="6549"/>
          <ac:spMkLst>
            <pc:docMk/>
            <pc:sldMk cId="3821184932" sldId="734"/>
            <ac:spMk id="3" creationId="{D6578126-592B-44F1-83F1-2FD85F73B618}"/>
          </ac:spMkLst>
        </pc:spChg>
      </pc:sldChg>
      <pc:sldChg chg="del">
        <pc:chgData name="Chandramouli, Devaki (Nokia - US/Dallas)" userId="ebf2a9f8-651b-4485-926f-9d93c0eafbc5" providerId="ADAL" clId="{81B58B25-FF27-46A6-BFC1-A3A5254C87F5}" dt="2020-10-19T13:51:47.829" v="1" actId="2696"/>
        <pc:sldMkLst>
          <pc:docMk/>
          <pc:sldMk cId="1438686549" sldId="73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19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19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204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nformal company position checking: 9 (Option 2) versus 2 (Option 1); </a:t>
            </a:r>
            <a:r>
              <a:rPr lang="en-US" sz="1200" dirty="0">
                <a:solidFill>
                  <a:srgbClr val="FF0000"/>
                </a:solidFill>
              </a:rPr>
              <a:t>Option 2 supported by majority.</a:t>
            </a: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S2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EN: Charging is F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74370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70029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9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Questions:</a:t>
            </a:r>
          </a:p>
          <a:p>
            <a:pPr lvl="1"/>
            <a:r>
              <a:rPr lang="en-US" sz="1800" dirty="0"/>
              <a:t>Options for BMCA:</a:t>
            </a:r>
          </a:p>
          <a:p>
            <a:pPr lvl="2"/>
            <a:r>
              <a:rPr lang="en-US" sz="1800" b="1" dirty="0"/>
              <a:t>Option 1: BMCA is C-plane based; TSN AF executes BMCA method. </a:t>
            </a:r>
          </a:p>
          <a:p>
            <a:pPr lvl="2"/>
            <a:r>
              <a:rPr lang="en-US" sz="1800" dirty="0"/>
              <a:t>Ingress port forwards the Announce messages to TSN AF (or NEF) for BMCA procedure which determines the PTP port states, TSN AF (or NEF) informs the DS-TT and/or NW-TT port states if needed. </a:t>
            </a:r>
          </a:p>
          <a:p>
            <a:pPr lvl="2"/>
            <a:r>
              <a:rPr lang="en-US" sz="1800" b="1" dirty="0"/>
              <a:t>Support Option 1 for BMCA? (YES/NO)</a:t>
            </a:r>
          </a:p>
          <a:p>
            <a:pPr lvl="2"/>
            <a:r>
              <a:rPr lang="en-US" sz="1800" b="1" dirty="0"/>
              <a:t>Option 2: BMCA is U-plane based; NW-TT executes BMCA method. </a:t>
            </a:r>
          </a:p>
          <a:p>
            <a:pPr lvl="2"/>
            <a:r>
              <a:rPr lang="en-US" sz="1800" dirty="0"/>
              <a:t>Ingress port forwards the Announce messages to NW-TT for BMCA procedure which determines the PTP port states and informs TSN AF (or NEF) on the BMCA result if needed.  </a:t>
            </a:r>
          </a:p>
          <a:p>
            <a:pPr lvl="2"/>
            <a:r>
              <a:rPr lang="en-US" sz="1800" b="1" dirty="0"/>
              <a:t>Support Option 2 for BMCA? (YES/NO)</a:t>
            </a:r>
          </a:p>
          <a:p>
            <a:pPr lvl="2"/>
            <a:r>
              <a:rPr lang="en-US" sz="1800" dirty="0">
                <a:solidFill>
                  <a:srgbClr val="FF0000"/>
                </a:solidFill>
              </a:rPr>
              <a:t>Way forward: &lt; &gt; Option 2 is proposed as way forward</a:t>
            </a:r>
          </a:p>
          <a:p>
            <a:pPr lvl="2"/>
            <a:endParaRPr lang="en-US" sz="1800" dirty="0">
              <a:solidFill>
                <a:srgbClr val="FF0000"/>
              </a:solidFill>
            </a:endParaRP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E7ADD6-D990-4940-BEC3-09CA2C32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28600"/>
            <a:ext cx="6827838" cy="1143000"/>
          </a:xfrm>
        </p:spPr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382118493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1: Varying views on support for UE-UE communication for IEEE TSN bridge with or without any pre-configuration.</a:t>
            </a:r>
          </a:p>
          <a:p>
            <a:r>
              <a:rPr lang="en-US" sz="1800" dirty="0"/>
              <a:t>Questions:</a:t>
            </a:r>
          </a:p>
          <a:p>
            <a:pPr lvl="1"/>
            <a:r>
              <a:rPr lang="en-US" sz="1800" dirty="0"/>
              <a:t>Option 1: Allow UE-UE communication, 5GS acting as IEEE TSN bridge supported only if </a:t>
            </a:r>
            <a:r>
              <a:rPr lang="en-US" altLang="zh-CN" sz="1800" b="1" dirty="0"/>
              <a:t>they are allowed as configured for e.g., same member of a group, same DNN/S-NSSAI</a:t>
            </a:r>
            <a:r>
              <a:rPr lang="en-US" sz="1800" dirty="0"/>
              <a:t>. Support Option 1 for UE-UE communication?</a:t>
            </a:r>
          </a:p>
          <a:p>
            <a:pPr lvl="1"/>
            <a:r>
              <a:rPr lang="en-US" sz="1800" dirty="0"/>
              <a:t>Option 2: Allow UE-UE communication considering AF request for QoS, as long as they are within the same 5GS acting as IEEE TSN Bridge for ETH PDU Sessions. Support Option 2 for UE-UE communication?</a:t>
            </a:r>
          </a:p>
          <a:p>
            <a:pPr lvl="1"/>
            <a:r>
              <a:rPr lang="en-US" sz="1800" dirty="0"/>
              <a:t>Option 3: Allow both options – option 1 &amp; 2. Support Option 3 for UE-UE communication?</a:t>
            </a:r>
          </a:p>
          <a:p>
            <a:pPr lvl="1"/>
            <a:r>
              <a:rPr lang="en-US" sz="1800" dirty="0">
                <a:solidFill>
                  <a:srgbClr val="FF0000"/>
                </a:solidFill>
              </a:rPr>
              <a:t>Way forward: &lt; &gt; Capture the principle “UE-UE communication (using local switching) is supported for all the UE(s) connected to the same DNN/S-NSSAI, terminating on the same UPF network instance.“</a:t>
            </a: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2: Varying views on how the local switching within UPF should be controlled.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1800" dirty="0">
                <a:solidFill>
                  <a:srgbClr val="FF0000"/>
                </a:solidFill>
                <a:ea typeface="+mn-ea"/>
                <a:cs typeface="+mn-cs"/>
              </a:rPr>
              <a:t>Way forward: &lt; &gt; Capture the principles “For IP PDU Sessions, UE-UE communication using local switching (without routing via N6) can be supported by UPF implementation based on operator policies. For ETH PDU Sessions, </a:t>
            </a:r>
            <a:r>
              <a:rPr lang="en-US" altLang="zh-CN" sz="1800" dirty="0">
                <a:solidFill>
                  <a:srgbClr val="FF0000"/>
                </a:solidFill>
              </a:rPr>
              <a:t>Local switching via UPF can be autonomously determined based on MAC learning (for ETH). For ETH IEEE TSN sessions, CNC provided static forwarding rules is supported for UL.” </a:t>
            </a:r>
            <a:endParaRPr lang="en-US" sz="1800" dirty="0">
              <a:solidFill>
                <a:srgbClr val="FF0000"/>
              </a:solidFill>
              <a:ea typeface="+mn-ea"/>
              <a:cs typeface="+mn-cs"/>
            </a:endParaRPr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Question 1:</a:t>
            </a:r>
          </a:p>
          <a:p>
            <a:pPr lvl="1"/>
            <a:r>
              <a:rPr lang="en-US" sz="1800" dirty="0"/>
              <a:t>Is there a reason to ask SA1 if there is H&amp;F requirement before documenting any conclusion in the TR?</a:t>
            </a:r>
          </a:p>
          <a:p>
            <a:r>
              <a:rPr lang="en-US" sz="1800" dirty="0"/>
              <a:t>Question 2:</a:t>
            </a:r>
          </a:p>
          <a:p>
            <a:pPr lvl="1"/>
            <a:r>
              <a:rPr lang="en-US" sz="1800" dirty="0"/>
              <a:t>Should it be possible to support Hold and forward functionality in the NW-TT and DS-TT to support deterministic services? </a:t>
            </a:r>
          </a:p>
          <a:p>
            <a:pPr lvl="1"/>
            <a:r>
              <a:rPr lang="en-US" sz="1800" dirty="0"/>
              <a:t>Should it be possible for the NEF to derive </a:t>
            </a:r>
            <a:r>
              <a:rPr lang="en-US" sz="1800" dirty="0" err="1"/>
              <a:t>Qbv</a:t>
            </a:r>
            <a:r>
              <a:rPr lang="en-US" sz="1800" dirty="0"/>
              <a:t> parameters based on QoS information to support Hold and forward functionality in the NW-TT and DS-TT as per Rel-16? </a:t>
            </a:r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1800" dirty="0"/>
              <a:t>Burst spread is used as TSCAI for scheduling optimization</a:t>
            </a:r>
          </a:p>
          <a:p>
            <a:pPr lvl="1"/>
            <a:r>
              <a:rPr lang="en-US" altLang="zh-CN" sz="1800" dirty="0"/>
              <a:t>Option 1: Burst Spread can be provided by AF to SMF via NEF/PCF</a:t>
            </a:r>
          </a:p>
          <a:p>
            <a:pPr lvl="1"/>
            <a:r>
              <a:rPr lang="en-US" altLang="zh-CN" sz="1800" dirty="0"/>
              <a:t>Question 1: Should support for Option 1 be specified in the spec?</a:t>
            </a:r>
          </a:p>
          <a:p>
            <a:pPr lvl="1"/>
            <a:endParaRPr lang="en-US" altLang="zh-CN" sz="1800" dirty="0"/>
          </a:p>
          <a:p>
            <a:pPr lvl="1"/>
            <a:r>
              <a:rPr lang="en-US" altLang="zh-CN" sz="1800" dirty="0"/>
              <a:t>Option 2: Burst Spread can be detected by UPF and provided to SMF</a:t>
            </a:r>
          </a:p>
          <a:p>
            <a:pPr lvl="1"/>
            <a:r>
              <a:rPr lang="en-US" altLang="zh-CN" sz="1800" dirty="0"/>
              <a:t>Question 2: Should support for Option 2 be specified in the spec?</a:t>
            </a:r>
          </a:p>
          <a:p>
            <a:pPr lvl="1"/>
            <a:endParaRPr lang="en-US" altLang="zh-CN" sz="1800" dirty="0"/>
          </a:p>
          <a:p>
            <a:pPr lvl="1"/>
            <a:r>
              <a:rPr lang="en-US" altLang="zh-CN" sz="1800" dirty="0"/>
              <a:t>Option 3: Burst Spread can be detected by RAN</a:t>
            </a:r>
          </a:p>
          <a:p>
            <a:pPr lvl="1"/>
            <a:r>
              <a:rPr lang="en-US" altLang="zh-CN" sz="1800" dirty="0"/>
              <a:t>Question 3: Should support for Option 3 be specified in the spec?</a:t>
            </a:r>
          </a:p>
          <a:p>
            <a:pPr lvl="1"/>
            <a:endParaRPr lang="en-US" altLang="zh-CN" sz="1800" dirty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89231241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GB" sz="1800" dirty="0"/>
              <a:t>Conclusion has the following:</a:t>
            </a:r>
          </a:p>
          <a:p>
            <a:pPr lvl="1"/>
            <a:r>
              <a:rPr lang="en-GB" sz="1800" dirty="0"/>
              <a:t>Editor's note:	</a:t>
            </a:r>
            <a:r>
              <a:rPr lang="en-US" sz="18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1800" dirty="0"/>
              <a:t>Option 1: AF assumed to activate and deactivate requests for all the DS-TT(s) (thus maintain validity period accordingly).</a:t>
            </a:r>
          </a:p>
          <a:p>
            <a:pPr lvl="1"/>
            <a:r>
              <a:rPr lang="en-GB" sz="1800" dirty="0"/>
              <a:t>Option 2: AF provides validity period for the request, 5GS maintains the validity period (i.e. new activate requests are not allowed when the validity period expires).</a:t>
            </a:r>
          </a:p>
          <a:p>
            <a:pPr lvl="1"/>
            <a:r>
              <a:rPr lang="en-GB" sz="1800" dirty="0"/>
              <a:t>Way forward: Option 1 seems to be preferred?</a:t>
            </a:r>
          </a:p>
          <a:p>
            <a:pPr marL="342900" lvl="1" indent="-342900">
              <a:buBlip>
                <a:blip r:embed="rId3"/>
              </a:buBlip>
            </a:pPr>
            <a:endParaRPr lang="en-US" sz="1800" dirty="0">
              <a:ea typeface="+mn-ea"/>
              <a:cs typeface="+mn-cs"/>
            </a:endParaRPr>
          </a:p>
          <a:p>
            <a:pPr marL="342900" lvl="1" indent="-342900">
              <a:buBlip>
                <a:blip r:embed="rId3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140</TotalTime>
  <Words>772</Words>
  <Application>Microsoft Office PowerPoint</Application>
  <PresentationFormat>On-screen Show (4:3)</PresentationFormat>
  <Paragraphs>63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A  Support for deterministic services</vt:lpstr>
      <vt:lpstr>Key Issue #3B Exposure of TSC services Exposure of Time Synchroniz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Nokia</cp:lastModifiedBy>
  <cp:revision>802</cp:revision>
  <dcterms:created xsi:type="dcterms:W3CDTF">2008-08-30T09:32:10Z</dcterms:created>
  <dcterms:modified xsi:type="dcterms:W3CDTF">2020-10-19T14:3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  <property fmtid="{D5CDD505-2E9C-101B-9397-08002B2CF9AE}" pid="3" name="_2015_ms_pID_725343">
    <vt:lpwstr>(2)az6LWZ/BzkH29ORZnQ1RTKIQg96V0vMjZ3UOLPjixIiRMweWfd7HeT6bBSfibyV6gbOx4hho
UguQ3NvCE8oNOQBb2NC+3HJSU1ci4zWWqJrxL1YhSS6f2QdSOlW9aUBA9h7rb59YI9Ixa33D
qw+3UexXsJmTXy1Sim/Fqm4Je+8pDx4Z7YmYStlrnQ1995J1gI6+eL29fmrKzb2QpCxk7Trw
qlr4m7QRjzu0W/kyJO</vt:lpwstr>
  </property>
  <property fmtid="{D5CDD505-2E9C-101B-9397-08002B2CF9AE}" pid="4" name="_2015_ms_pID_7253431">
    <vt:lpwstr>nOSRa3x7AQ3IgXmi84fNQuxUgKLV8+bOvMozq4FuG1irhlJjIxeD0d
Ljvf4yDFqpNQuqRAAy/AzAr4hogVFv1VVHqPPi/uJbIL3SaW4sFXjk/MmPK64Su6SWHHbgTR
N7Z2uCY0UqyhszyWtx03lKW98zFpqZtw4xmCCqb3Fp7STymhH6/mcYoHDbS38w+J9uqbqHnZ
m/emk2rXF1BPpgHL</vt:lpwstr>
  </property>
</Properties>
</file>